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</p:sldMasterIdLst>
  <p:notesMasterIdLst>
    <p:notesMasterId r:id="rId10"/>
  </p:notesMasterIdLst>
  <p:handoutMasterIdLst>
    <p:handoutMasterId r:id="rId11"/>
  </p:handoutMasterIdLst>
  <p:sldIdLst>
    <p:sldId id="257" r:id="rId2"/>
    <p:sldId id="261" r:id="rId3"/>
    <p:sldId id="259" r:id="rId4"/>
    <p:sldId id="262" r:id="rId5"/>
    <p:sldId id="258" r:id="rId6"/>
    <p:sldId id="264" r:id="rId7"/>
    <p:sldId id="260" r:id="rId8"/>
    <p:sldId id="263" r:id="rId9"/>
  </p:sldIdLst>
  <p:sldSz cx="12195175" cy="6859588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0" userDrawn="1">
          <p15:clr>
            <a:srgbClr val="A4A3A4"/>
          </p15:clr>
        </p15:guide>
        <p15:guide id="2" orient="horz" pos="221" userDrawn="1">
          <p15:clr>
            <a:srgbClr val="A4A3A4"/>
          </p15:clr>
        </p15:guide>
        <p15:guide id="3" orient="horz" pos="4244" userDrawn="1">
          <p15:clr>
            <a:srgbClr val="A4A3A4"/>
          </p15:clr>
        </p15:guide>
        <p15:guide id="4" orient="horz" pos="1267" userDrawn="1">
          <p15:clr>
            <a:srgbClr val="A4A3A4"/>
          </p15:clr>
        </p15:guide>
        <p15:guide id="5" pos="213" userDrawn="1">
          <p15:clr>
            <a:srgbClr val="A4A3A4"/>
          </p15:clr>
        </p15:guide>
        <p15:guide id="6" pos="7409" userDrawn="1">
          <p15:clr>
            <a:srgbClr val="A4A3A4"/>
          </p15:clr>
        </p15:guide>
        <p15:guide id="7" pos="6629" userDrawn="1">
          <p15:clr>
            <a:srgbClr val="A4A3A4"/>
          </p15:clr>
        </p15:guide>
        <p15:guide id="8" pos="432" userDrawn="1">
          <p15:clr>
            <a:srgbClr val="A4A3A4"/>
          </p15:clr>
        </p15:guide>
        <p15:guide id="9" pos="68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C5D1"/>
    <a:srgbClr val="486679"/>
    <a:srgbClr val="AFC3D1"/>
    <a:srgbClr val="C2D4DE"/>
    <a:srgbClr val="AFC3D2"/>
    <a:srgbClr val="FFFFFF"/>
    <a:srgbClr val="A4B9C8"/>
    <a:srgbClr val="89FB97"/>
    <a:srgbClr val="D3DEE5"/>
    <a:srgbClr val="96AE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4939" autoAdjust="0"/>
  </p:normalViewPr>
  <p:slideViewPr>
    <p:cSldViewPr snapToGrid="0">
      <p:cViewPr>
        <p:scale>
          <a:sx n="90" d="100"/>
          <a:sy n="90" d="100"/>
        </p:scale>
        <p:origin x="398" y="-1013"/>
      </p:cViewPr>
      <p:guideLst>
        <p:guide orient="horz" pos="4130"/>
        <p:guide orient="horz" pos="221"/>
        <p:guide orient="horz" pos="4244"/>
        <p:guide orient="horz" pos="1267"/>
        <p:guide pos="213"/>
        <p:guide pos="7409"/>
        <p:guide pos="6629"/>
        <p:guide pos="432"/>
        <p:guide pos="68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-4956" y="-120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A4EF3-98CE-4803-844C-E583DBEE8D41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5.02.2019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8F7E7-88D5-4252-884D-62B279D49CF4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83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C637F98-156A-4763-A29D-A4D93243509E}" type="datetimeFigureOut">
              <a:rPr lang="de-DE" smtClean="0"/>
              <a:pPr/>
              <a:t>25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0"/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>
              <a:defRPr lang="de-DE"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D3E2EB-6111-4DB9-9259-790D401816A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009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28650" indent="-171450" algn="l" defTabSz="914400" rtl="0" eaLnBrk="1" latinLnBrk="0" hangingPunct="1"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85850" indent="-171450" algn="l" defTabSz="914400" rtl="0" eaLnBrk="1" latinLnBrk="0" hangingPunct="1">
      <a:buFont typeface="Wingdings" panose="05000000000000000000" pitchFamily="2" charset="2"/>
      <a:buChar char="§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uptfunktion</a:t>
            </a:r>
            <a:r>
              <a:rPr lang="de-DE" smtClean="0"/>
              <a:t>: </a:t>
            </a:r>
            <a:r>
              <a:rPr lang="de-DE" smtClean="0"/>
              <a:t>Kurznachrichten</a:t>
            </a:r>
            <a:r>
              <a:rPr lang="de-DE" baseline="0" smtClean="0"/>
              <a:t> </a:t>
            </a:r>
            <a:r>
              <a:rPr lang="de-DE" baseline="0" dirty="0" smtClean="0"/>
              <a:t>versenden</a:t>
            </a:r>
          </a:p>
          <a:p>
            <a:pPr lvl="0"/>
            <a:r>
              <a:rPr lang="de-DE" baseline="0" dirty="0" smtClean="0"/>
              <a:t>Weitere Anforderungen:</a:t>
            </a:r>
          </a:p>
          <a:p>
            <a:pPr lvl="1"/>
            <a:r>
              <a:rPr lang="de-DE" baseline="0" dirty="0" smtClean="0"/>
              <a:t>Mehrere Chats parallel</a:t>
            </a:r>
          </a:p>
          <a:p>
            <a:pPr lvl="1"/>
            <a:r>
              <a:rPr lang="de-DE" baseline="0" dirty="0" smtClean="0"/>
              <a:t>Nachrichten speichern &amp; lad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689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Alle grauen Blöcke sind Attribute einer Nachricht, machen eine Nachricht aus</a:t>
            </a:r>
          </a:p>
          <a:p>
            <a:r>
              <a:rPr lang="de-DE" baseline="0" dirty="0" smtClean="0"/>
              <a:t>Erklären der einzelnen Blöcke</a:t>
            </a:r>
          </a:p>
          <a:p>
            <a:pPr lvl="1"/>
            <a:r>
              <a:rPr lang="de-DE" baseline="0" dirty="0" err="1" smtClean="0"/>
              <a:t>Bool</a:t>
            </a:r>
            <a:r>
              <a:rPr lang="de-DE" baseline="0" dirty="0" smtClean="0"/>
              <a:t>: für Erweiterungen vorgesehen, Bsp: Antwort des Empfängers</a:t>
            </a:r>
          </a:p>
          <a:p>
            <a:r>
              <a:rPr lang="de-DE" baseline="0" dirty="0" smtClean="0"/>
              <a:t>Codieren:</a:t>
            </a:r>
          </a:p>
          <a:p>
            <a:pPr lvl="1"/>
            <a:r>
              <a:rPr lang="de-DE" baseline="0" dirty="0" smtClean="0"/>
              <a:t>Attribute in </a:t>
            </a:r>
            <a:r>
              <a:rPr lang="de-DE" baseline="0" dirty="0" err="1" smtClean="0"/>
              <a:t>strings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baseline="0" dirty="0" smtClean="0"/>
              <a:t>Mit </a:t>
            </a:r>
            <a:r>
              <a:rPr lang="de-DE" baseline="0" dirty="0" err="1" smtClean="0"/>
              <a:t>trennzeichen</a:t>
            </a:r>
            <a:r>
              <a:rPr lang="de-DE" baseline="0" dirty="0" smtClean="0"/>
              <a:t> in fester </a:t>
            </a:r>
            <a:r>
              <a:rPr lang="de-DE" baseline="0" dirty="0" err="1" smtClean="0"/>
              <a:t>reihenfolge</a:t>
            </a:r>
            <a:r>
              <a:rPr lang="de-DE" baseline="0" dirty="0" smtClean="0"/>
              <a:t> aneinander gehängt</a:t>
            </a:r>
          </a:p>
          <a:p>
            <a:pPr lvl="1"/>
            <a:r>
              <a:rPr lang="de-DE" baseline="0" dirty="0" err="1" smtClean="0"/>
              <a:t>string</a:t>
            </a:r>
            <a:r>
              <a:rPr lang="de-DE" baseline="0" dirty="0" smtClean="0"/>
              <a:t> wird als </a:t>
            </a:r>
            <a:r>
              <a:rPr lang="de-DE" baseline="0" dirty="0" err="1" smtClean="0"/>
              <a:t>by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ray</a:t>
            </a:r>
            <a:r>
              <a:rPr lang="de-DE" baseline="0" dirty="0" smtClean="0"/>
              <a:t> versendet</a:t>
            </a:r>
          </a:p>
          <a:p>
            <a:pPr lvl="0"/>
            <a:r>
              <a:rPr lang="de-DE" baseline="0" dirty="0" smtClean="0"/>
              <a:t>Decodieren:</a:t>
            </a:r>
          </a:p>
          <a:p>
            <a:pPr lvl="1"/>
            <a:r>
              <a:rPr lang="de-DE" baseline="0" dirty="0" smtClean="0"/>
              <a:t>Byte Array wieder in </a:t>
            </a:r>
            <a:r>
              <a:rPr lang="de-DE" baseline="0" dirty="0" err="1" smtClean="0"/>
              <a:t>string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dirty="0" smtClean="0"/>
              <a:t>String</a:t>
            </a:r>
            <a:r>
              <a:rPr lang="de-DE" baseline="0" dirty="0" smtClean="0"/>
              <a:t> an den Trennzeichen auftrennen</a:t>
            </a:r>
          </a:p>
          <a:p>
            <a:pPr lvl="1"/>
            <a:r>
              <a:rPr lang="de-DE" baseline="0" dirty="0" smtClean="0"/>
              <a:t>Zu einem Nachrichtenobjekt zusammensetz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081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Nachrichten verschicken: Luca sendet Nachricht an Jacqueline:</a:t>
            </a:r>
          </a:p>
          <a:p>
            <a:pPr lvl="1"/>
            <a:r>
              <a:rPr lang="de-DE" baseline="0" dirty="0" smtClean="0"/>
              <a:t>Nachricht bei Luca codiert</a:t>
            </a:r>
          </a:p>
          <a:p>
            <a:pPr lvl="1"/>
            <a:r>
              <a:rPr lang="de-DE" baseline="0" dirty="0" smtClean="0"/>
              <a:t>An alle gesendet</a:t>
            </a:r>
          </a:p>
          <a:p>
            <a:pPr lvl="1"/>
            <a:r>
              <a:rPr lang="de-DE" baseline="0" dirty="0" smtClean="0"/>
              <a:t>Nur die drei Rechner hören auf unseren Port, andere nur </a:t>
            </a:r>
            <a:r>
              <a:rPr lang="de-DE" baseline="0" dirty="0" err="1" smtClean="0"/>
              <a:t>Standardports</a:t>
            </a:r>
            <a:r>
              <a:rPr lang="de-DE" baseline="0" dirty="0" smtClean="0"/>
              <a:t> – paralleler Thread</a:t>
            </a:r>
          </a:p>
          <a:p>
            <a:pPr lvl="1"/>
            <a:r>
              <a:rPr lang="de-DE" baseline="0" dirty="0" smtClean="0"/>
              <a:t>In 3 Rechnern decodiert und ausgewertet</a:t>
            </a:r>
          </a:p>
          <a:p>
            <a:pPr lvl="2"/>
            <a:r>
              <a:rPr lang="de-DE" baseline="0" dirty="0" smtClean="0"/>
              <a:t>Peter: Nachricht ist nicht für mich</a:t>
            </a:r>
          </a:p>
          <a:p>
            <a:pPr lvl="2"/>
            <a:r>
              <a:rPr lang="de-DE" baseline="0" dirty="0" smtClean="0"/>
              <a:t>Jacqueline: Nachricht ist für mich und von Luca -&gt; wird dargestellt</a:t>
            </a:r>
          </a:p>
          <a:p>
            <a:pPr lvl="2"/>
            <a:r>
              <a:rPr lang="de-DE" baseline="0" dirty="0" smtClean="0"/>
              <a:t>Luca: Nachricht ist von mir versendet -&gt; wird dargestel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0732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baseline="0" dirty="0" smtClean="0"/>
              <a:t>Paralleler Thread: hört dauerhaft auf Port, ob neue Nachrichten angekommen sind</a:t>
            </a:r>
          </a:p>
          <a:p>
            <a:pPr lvl="0"/>
            <a:endParaRPr lang="de-DE" baseline="0" dirty="0" smtClean="0"/>
          </a:p>
          <a:p>
            <a:pPr lvl="0"/>
            <a:r>
              <a:rPr lang="de-DE" baseline="0" dirty="0" smtClean="0"/>
              <a:t>Peter: Nachricht ist nicht für mi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Luca: Nachricht ist von mir versendet -&gt; wird dargestell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Jacqueline: Nachricht ist für mich und von Luca -&gt; wird dargestellt</a:t>
            </a:r>
          </a:p>
          <a:p>
            <a:pPr lvl="0"/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868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XML-Format</a:t>
            </a:r>
          </a:p>
          <a:p>
            <a:r>
              <a:rPr lang="de-DE" dirty="0" smtClean="0"/>
              <a:t>Aufbau in Knoten:</a:t>
            </a:r>
          </a:p>
          <a:p>
            <a:pPr lvl="1"/>
            <a:r>
              <a:rPr lang="de-DE" dirty="0" smtClean="0"/>
              <a:t>Hauptknoten</a:t>
            </a:r>
          </a:p>
          <a:p>
            <a:pPr lvl="1"/>
            <a:r>
              <a:rPr lang="de-DE" dirty="0" smtClean="0"/>
              <a:t>Unterknoten</a:t>
            </a:r>
          </a:p>
          <a:p>
            <a:pPr lvl="1"/>
            <a:r>
              <a:rPr lang="de-DE" dirty="0" smtClean="0"/>
              <a:t>Jeweils Attribute % Inhalt</a:t>
            </a:r>
          </a:p>
          <a:p>
            <a:pPr lvl="0"/>
            <a:r>
              <a:rPr lang="de-DE" dirty="0" smtClean="0"/>
              <a:t>Unser</a:t>
            </a:r>
            <a:r>
              <a:rPr lang="de-DE" baseline="0" dirty="0" smtClean="0"/>
              <a:t> Aufbau:</a:t>
            </a:r>
          </a:p>
          <a:p>
            <a:pPr lvl="1"/>
            <a:r>
              <a:rPr lang="de-DE" baseline="0" dirty="0" smtClean="0"/>
              <a:t>Mainuser-Knoten + </a:t>
            </a:r>
            <a:r>
              <a:rPr lang="de-DE" baseline="0" dirty="0" err="1" smtClean="0"/>
              <a:t>username</a:t>
            </a:r>
            <a:endParaRPr lang="de-DE" baseline="0" dirty="0" smtClean="0"/>
          </a:p>
          <a:p>
            <a:pPr lvl="1"/>
            <a:r>
              <a:rPr lang="de-DE" baseline="0" dirty="0" err="1" smtClean="0"/>
              <a:t>Chatcontact</a:t>
            </a:r>
            <a:r>
              <a:rPr lang="de-DE" baseline="0" dirty="0" smtClean="0"/>
              <a:t>-knoten für jeden Kontakt + </a:t>
            </a:r>
            <a:r>
              <a:rPr lang="de-DE" baseline="0" dirty="0" err="1" smtClean="0"/>
              <a:t>username</a:t>
            </a:r>
            <a:endParaRPr lang="de-DE" baseline="0" dirty="0" smtClean="0"/>
          </a:p>
          <a:p>
            <a:pPr lvl="1"/>
            <a:r>
              <a:rPr lang="de-DE" baseline="0" dirty="0" smtClean="0"/>
              <a:t>Message-Knoten für jede Nachricht + Attribute und Text</a:t>
            </a:r>
            <a:endParaRPr lang="de-DE" dirty="0" smtClean="0"/>
          </a:p>
          <a:p>
            <a:pPr lvl="0"/>
            <a:r>
              <a:rPr lang="de-DE" dirty="0" smtClean="0"/>
              <a:t>Vorteil:</a:t>
            </a:r>
          </a:p>
          <a:p>
            <a:pPr lvl="1"/>
            <a:r>
              <a:rPr lang="de-DE" dirty="0" smtClean="0"/>
              <a:t>Beim</a:t>
            </a:r>
            <a:r>
              <a:rPr lang="de-DE" baseline="0" dirty="0" smtClean="0"/>
              <a:t> Auslesen: richtigen Knoten anwählen -&gt; kann gezielt auf jedes Attribut &amp; Inhalt zugreifen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263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uptfunktion: Nachrichten</a:t>
            </a:r>
            <a:r>
              <a:rPr lang="de-DE" baseline="0" dirty="0" smtClean="0"/>
              <a:t> versenden</a:t>
            </a:r>
          </a:p>
          <a:p>
            <a:pPr lvl="0"/>
            <a:r>
              <a:rPr lang="de-DE" baseline="0" dirty="0" smtClean="0"/>
              <a:t>Weitere Anforderungen:</a:t>
            </a:r>
          </a:p>
          <a:p>
            <a:pPr lvl="1"/>
            <a:r>
              <a:rPr lang="de-DE" baseline="0" dirty="0" smtClean="0"/>
              <a:t>Mehrere Chats parallel</a:t>
            </a:r>
          </a:p>
          <a:p>
            <a:pPr lvl="1"/>
            <a:r>
              <a:rPr lang="de-DE" baseline="0" dirty="0" smtClean="0"/>
              <a:t>Nachrichten speichern &amp; lad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95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smtClean="0"/>
              <a:t>Identifikation über Usernamen: </a:t>
            </a:r>
            <a:r>
              <a:rPr lang="de-DE" baseline="0" dirty="0" smtClean="0"/>
              <a:t>Vorgegebene Länge, Doppelte Usernamen -&gt; Verwechslun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56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82519" y="1493574"/>
            <a:ext cx="9831253" cy="1077218"/>
          </a:xfrm>
        </p:spPr>
        <p:txBody>
          <a:bodyPr wrap="square" tIns="0" bIns="0" anchor="t">
            <a:spAutoFit/>
          </a:bodyPr>
          <a:lstStyle>
            <a:lvl1pPr>
              <a:lnSpc>
                <a:spcPts val="4200"/>
              </a:lnSpc>
              <a:defRPr sz="400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noProof="0" dirty="0" smtClean="0"/>
              <a:t>Presentation title 40pt </a:t>
            </a:r>
            <a:br>
              <a:rPr lang="en-US" noProof="0" dirty="0" smtClean="0"/>
            </a:br>
            <a:r>
              <a:rPr lang="en-US" noProof="0" dirty="0" smtClean="0"/>
              <a:t>over two lin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2519" y="3533914"/>
            <a:ext cx="9831253" cy="430887"/>
          </a:xfrm>
        </p:spPr>
        <p:txBody>
          <a:bodyPr wrap="square" t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aseline="0">
                <a:latin typeface="+mj-lt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noProof="0" dirty="0" smtClean="0"/>
              <a:t>Additional text for presentation in Arial 14pt</a:t>
            </a:r>
          </a:p>
          <a:p>
            <a:r>
              <a:rPr lang="en-US" noProof="0" dirty="0" smtClean="0"/>
              <a:t>Speaker, department, location, date</a:t>
            </a:r>
            <a:endParaRPr lang="en-US" noProof="0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774A42C7-66FC-47A7-A547-4027B1827CF9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62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006477"/>
            <a:ext cx="4609200" cy="2925625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5910863" y="2006477"/>
            <a:ext cx="4608400" cy="2925625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10861" y="4933951"/>
            <a:ext cx="4608400" cy="297669"/>
          </a:xfrm>
        </p:spPr>
        <p:txBody>
          <a:bodyPr lIns="0" tIns="128546" rIns="0"/>
          <a:lstStyle>
            <a:lvl1pPr marL="0" marR="0" indent="0" algn="r" defTabSz="485161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r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aption in Arial 9pt.</a:t>
            </a:r>
            <a:endParaRPr lang="de-DE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7172E7B-477C-4869-AE29-A6FF87E214F8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354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in to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9474"/>
            <a:ext cx="12195175" cy="6310116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13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 hasCustomPrompt="1"/>
          </p:nvPr>
        </p:nvSpPr>
        <p:spPr>
          <a:xfrm>
            <a:off x="683359" y="2006476"/>
            <a:ext cx="9831253" cy="45451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900"/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461E45F-51CB-4D58-9E52-697E11F5AA4D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11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ellenplatzhalter 4"/>
          <p:cNvSpPr>
            <a:spLocks noGrp="1"/>
          </p:cNvSpPr>
          <p:nvPr>
            <p:ph type="tbl" sz="quarter" idx="12" hasCustomPrompt="1"/>
          </p:nvPr>
        </p:nvSpPr>
        <p:spPr>
          <a:xfrm>
            <a:off x="683358" y="2368354"/>
            <a:ext cx="9831253" cy="27239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1039" y="5092705"/>
            <a:ext cx="4915626" cy="290209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2FE86AA3-6380-4010-896A-BED3EF588030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601726" y="5092773"/>
            <a:ext cx="4915626" cy="290209"/>
          </a:xfrm>
        </p:spPr>
        <p:txBody>
          <a:bodyPr lIns="0" tIns="128546" rIns="0"/>
          <a:lstStyle>
            <a:lvl1pPr marL="0" indent="0" algn="r">
              <a:lnSpc>
                <a:spcPct val="100000"/>
              </a:lnSpc>
              <a:buNone/>
              <a:defRPr sz="90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3359" y="2013832"/>
            <a:ext cx="9831253" cy="278112"/>
          </a:xfrm>
        </p:spPr>
        <p:txBody>
          <a:bodyPr tIns="0"/>
          <a:lstStyle>
            <a:lvl1pPr marL="0" indent="0" algn="l">
              <a:buNone/>
              <a:defRPr sz="1800" b="1" baseline="0">
                <a:latin typeface="Arial 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dirty="0" smtClean="0"/>
              <a:t>Table heading in Arial 18pt; bold.</a:t>
            </a:r>
          </a:p>
        </p:txBody>
      </p:sp>
    </p:spTree>
    <p:extLst>
      <p:ext uri="{BB962C8B-B14F-4D97-AF65-F5344CB8AC3E}">
        <p14:creationId xmlns:p14="http://schemas.microsoft.com/office/powerpoint/2010/main" val="3210326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/>
          <p:cNvSpPr>
            <a:spLocks noGrp="1"/>
          </p:cNvSpPr>
          <p:nvPr>
            <p:ph type="chart" sz="quarter" idx="12" hasCustomPrompt="1"/>
          </p:nvPr>
        </p:nvSpPr>
        <p:spPr>
          <a:xfrm>
            <a:off x="682520" y="2006475"/>
            <a:ext cx="9831253" cy="4229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chart by clicking icon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2522" y="6240096"/>
            <a:ext cx="5141180" cy="267597"/>
          </a:xfrm>
        </p:spPr>
        <p:txBody>
          <a:bodyPr lIns="0" tIns="128546" rIns="0"/>
          <a:lstStyle>
            <a:lvl1pPr marL="0" marR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 sz="900"/>
            </a:lvl1pPr>
          </a:lstStyle>
          <a:p>
            <a:pPr marL="0" marR="0" lvl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 smtClean="0"/>
              <a:t>Chart captions in Arial 9pt.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7681363F-8E0E-4E13-90FD-51FC17AFE4D1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43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5"/>
            <a:ext cx="9831253" cy="2947672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17A2053D-B7B7-42CC-91F3-25AD211F5B71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2141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A6AA01B8-A674-4883-95F2-E14D80DC0758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786124"/>
            <a:ext cx="4608400" cy="296122"/>
          </a:xfrm>
        </p:spPr>
        <p:txBody>
          <a:bodyPr lIns="0" tIns="128546" rIns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Text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09162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4"/>
            <a:ext cx="9831253" cy="3516373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marL="381076" marR="0" lvl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charset="0"/>
              </a:rPr>
              <a:t>Text slides are set in Arial 18pt</a:t>
            </a:r>
          </a:p>
          <a:p>
            <a:pPr marL="874811" marR="0" lvl="1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Second point</a:t>
            </a:r>
          </a:p>
          <a:p>
            <a:pPr marL="1368542" marR="0" lvl="2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129F28ED-0968-44AF-8946-F5CA67580B4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4931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1B8E9D8-99C6-4E2F-8372-4C00E70307EE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3359" y="4783930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64006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CBBB9EA9-CA27-494E-8582-2CDD61122439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1703595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197B4223-4EEA-4A49-9416-290585483A93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8663"/>
          </a:xfrm>
        </p:spPr>
        <p:txBody>
          <a:bodyPr/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2863836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2CAB891-EEDC-4982-8FB5-9ACB0E05CCC7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495800"/>
            <a:ext cx="6981824" cy="1793874"/>
          </a:xfrm>
          <a:solidFill>
            <a:schemeClr val="accent2">
              <a:lumMod val="50000"/>
            </a:schemeClr>
          </a:solidFill>
        </p:spPr>
        <p:txBody>
          <a:bodyPr lIns="518400" tIns="46800" rIns="90000" bIns="46800" anchor="ctr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DE" dirty="0" err="1" smtClean="0"/>
              <a:t>Colored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ighlighted</a:t>
            </a:r>
            <a:r>
              <a:rPr lang="de-DE" dirty="0" smtClean="0"/>
              <a:t>, </a:t>
            </a:r>
            <a:r>
              <a:rPr lang="de-DE" dirty="0" err="1" smtClean="0"/>
              <a:t>text</a:t>
            </a:r>
            <a:r>
              <a:rPr lang="de-DE" dirty="0" smtClean="0"/>
              <a:t> in Arial 18pt.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point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poi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440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C72DEB5C-87DF-44F0-A6BA-7007099B6997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84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682523" y="2006477"/>
            <a:ext cx="7870209" cy="408377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53730" y="5584986"/>
            <a:ext cx="1959833" cy="976083"/>
          </a:xfrm>
        </p:spPr>
        <p:txBody>
          <a:bodyPr lIns="128546" tIns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spc="0" baseline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 smtClean="0"/>
              <a:t>Captions in Arial 9 pt.</a:t>
            </a:r>
            <a:br>
              <a:rPr lang="en-US" noProof="0" dirty="0" smtClean="0"/>
            </a:br>
            <a:r>
              <a:rPr lang="en-US" noProof="0" dirty="0" smtClean="0"/>
              <a:t>Captions are positioned 0.3 cm below or to the side of the image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C042988-698E-42AC-898D-4AD609639A30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885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or image, chart,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82520" y="2006477"/>
            <a:ext cx="9831253" cy="4543200"/>
          </a:xfrm>
        </p:spPr>
        <p:txBody>
          <a:bodyPr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A3DBFAD-95C4-4B23-B701-BF43C3022412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82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962120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D23D87D-2401-4D92-92C1-30076C151631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471531"/>
            <a:ext cx="9831253" cy="227499"/>
          </a:xfrm>
        </p:spPr>
        <p:txBody>
          <a:bodyPr/>
          <a:lstStyle>
            <a:lvl1pPr marL="0" indent="0">
              <a:lnSpc>
                <a:spcPts val="1680"/>
              </a:lnSpc>
              <a:buNone/>
              <a:defRPr sz="1400" baseline="0"/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. </a:t>
            </a:r>
          </a:p>
        </p:txBody>
      </p:sp>
    </p:spTree>
    <p:extLst>
      <p:ext uri="{BB962C8B-B14F-4D97-AF65-F5344CB8AC3E}">
        <p14:creationId xmlns:p14="http://schemas.microsoft.com/office/powerpoint/2010/main" val="787814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549880"/>
            <a:ext cx="12195174" cy="40699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0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4832021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3EB06A0-CBCB-4B94-BD85-86F8EF3605BD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82519" y="6095291"/>
            <a:ext cx="9831253" cy="209107"/>
          </a:xfrm>
        </p:spPr>
        <p:txBody>
          <a:bodyPr tIns="0"/>
          <a:lstStyle>
            <a:lvl1pPr marL="0" indent="0">
              <a:lnSpc>
                <a:spcPts val="1680"/>
              </a:lnSpc>
              <a:buNone/>
              <a:defRPr sz="1400">
                <a:latin typeface="Arial "/>
              </a:defRPr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</a:t>
            </a:r>
          </a:p>
        </p:txBody>
      </p:sp>
    </p:spTree>
    <p:extLst>
      <p:ext uri="{BB962C8B-B14F-4D97-AF65-F5344CB8AC3E}">
        <p14:creationId xmlns:p14="http://schemas.microsoft.com/office/powerpoint/2010/main" val="171895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, 2 images,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83359" y="2006476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Date Placeholder 1"/>
          <p:cNvSpPr>
            <a:spLocks noGrp="1"/>
          </p:cNvSpPr>
          <p:nvPr>
            <p:ph type="dt" sz="half" idx="14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049C7B8-D949-48BF-BBB6-EB5EE23991DD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6061" y="5175607"/>
            <a:ext cx="9818594" cy="279274"/>
          </a:xfrm>
        </p:spPr>
        <p:txBody>
          <a:bodyPr tIns="0" bIns="0"/>
          <a:lstStyle>
            <a:lvl1pPr marL="0" indent="0">
              <a:spcAft>
                <a:spcPts val="648"/>
              </a:spcAft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 smtClean="0"/>
              <a:t>Text in 18pt.</a:t>
            </a:r>
          </a:p>
        </p:txBody>
      </p:sp>
    </p:spTree>
    <p:extLst>
      <p:ext uri="{BB962C8B-B14F-4D97-AF65-F5344CB8AC3E}">
        <p14:creationId xmlns:p14="http://schemas.microsoft.com/office/powerpoint/2010/main" val="57304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931953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83359" y="2009650"/>
            <a:ext cx="4608400" cy="2923877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8C95B8BF-577E-4476-B184-84F33C04FE97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37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2520" y="974814"/>
            <a:ext cx="9831253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 smtClean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519" y="2006477"/>
            <a:ext cx="9831253" cy="454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9437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  <a:p>
            <a:pPr lvl="0"/>
            <a:endParaRPr lang="en-GB" dirty="0" smtClean="0"/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748" tIns="49374" rIns="98748" bIns="4937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8516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charset="0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3C2DBF8-54A7-4A5B-99A0-0A219E26D737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4" name="Rectangle 63"/>
          <p:cNvSpPr>
            <a:spLocks noChangeAspect="1" noChangeArrowheads="1"/>
          </p:cNvSpPr>
          <p:nvPr/>
        </p:nvSpPr>
        <p:spPr bwMode="auto">
          <a:xfrm>
            <a:off x="0" y="2"/>
            <a:ext cx="10520406" cy="543669"/>
          </a:xfrm>
          <a:prstGeom prst="rect">
            <a:avLst/>
          </a:prstGeom>
          <a:solidFill>
            <a:srgbClr val="2C353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0641" tIns="55320" rIns="110641" bIns="55320" anchor="ctr"/>
          <a:lstStyle/>
          <a:p>
            <a:pPr algn="ctr"/>
            <a:r>
              <a:rPr lang="de-DE" dirty="0"/>
              <a:t> </a:t>
            </a:r>
          </a:p>
        </p:txBody>
      </p:sp>
      <p:pic>
        <p:nvPicPr>
          <p:cNvPr id="15" name="Picture 62" descr="Claim_weiß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9" y="313140"/>
            <a:ext cx="2366467" cy="188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Gerade Verbindung 20"/>
          <p:cNvCxnSpPr>
            <a:cxnSpLocks noChangeShapeType="1"/>
          </p:cNvCxnSpPr>
          <p:nvPr/>
        </p:nvCxnSpPr>
        <p:spPr bwMode="auto">
          <a:xfrm>
            <a:off x="-1920" y="261268"/>
            <a:ext cx="10518485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" name="Grafik 1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657" y="71984"/>
            <a:ext cx="857309" cy="39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07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</p:sldLayoutIdLst>
  <p:timing>
    <p:tnLst>
      <p:par>
        <p:cTn id="1" dur="indefinite" restart="never" nodeType="tmRoot"/>
      </p:par>
    </p:tnLst>
  </p:timing>
  <p:hf hdr="0"/>
  <p:txStyles>
    <p:titleStyle>
      <a:lvl1pPr algn="l" defTabSz="485214" rtl="0" eaLnBrk="1" fontAlgn="base" hangingPunct="1">
        <a:lnSpc>
          <a:spcPts val="32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j-lt"/>
          <a:ea typeface="ＭＳ Ｐゴシック" charset="0"/>
          <a:cs typeface="ＭＳ Ｐゴシック" pitchFamily="34" charset="-128"/>
        </a:defRPr>
      </a:lvl1pPr>
      <a:lvl2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2pPr>
      <a:lvl3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3pPr>
      <a:lvl4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4pPr>
      <a:lvl5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5pPr>
      <a:lvl6pPr marL="2715828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6pPr>
      <a:lvl7pPr marL="3209615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7pPr>
      <a:lvl8pPr marL="3703402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8pPr>
      <a:lvl9pPr marL="4197189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81076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Arial" panose="020B0604020202020204" pitchFamily="34" charset="0"/>
        <a:buChar char="•"/>
        <a:defRPr sz="1800" baseline="0">
          <a:solidFill>
            <a:srgbClr val="000000"/>
          </a:solidFill>
          <a:latin typeface="+mn-lt"/>
          <a:ea typeface="ＭＳ Ｐゴシック" charset="0"/>
          <a:cs typeface="ＭＳ Ｐゴシック" pitchFamily="34" charset="-128"/>
        </a:defRPr>
      </a:lvl1pPr>
      <a:lvl2pPr marL="874811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Symbol" panose="05050102010706020507" pitchFamily="18" charset="2"/>
        <a:buChar char="-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2pPr>
      <a:lvl3pPr marL="1368542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Wingdings" panose="05000000000000000000" pitchFamily="2" charset="2"/>
        <a:buChar char="§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3pPr>
      <a:lvl4pPr marL="17280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62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4pPr>
      <a:lvl5pPr marL="2221799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5pPr>
      <a:lvl6pPr marL="2715531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6pPr>
      <a:lvl7pPr marL="32092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7pPr>
      <a:lvl8pPr marL="3702996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8pPr>
      <a:lvl9pPr marL="4196730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373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7465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81199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4931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8664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398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5613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986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1400974" y="2458320"/>
            <a:ext cx="9831253" cy="579133"/>
          </a:xfrm>
        </p:spPr>
        <p:txBody>
          <a:bodyPr/>
          <a:lstStyle/>
          <a:p>
            <a:r>
              <a:rPr lang="de-DE" sz="6000" dirty="0" smtClean="0"/>
              <a:t>Chatprogramm</a:t>
            </a:r>
            <a:endParaRPr lang="de-DE" sz="6000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2183385" y="3204621"/>
            <a:ext cx="9831253" cy="276999"/>
          </a:xfrm>
        </p:spPr>
        <p:txBody>
          <a:bodyPr/>
          <a:lstStyle/>
          <a:p>
            <a:r>
              <a:rPr lang="de-DE" sz="1800" dirty="0" smtClean="0"/>
              <a:t>Informatikprojekt Softwareentwicklung</a:t>
            </a:r>
            <a:endParaRPr lang="de-DE" sz="1800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E6612E1-BB94-4136-BF56-B735C4DAB6FF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</a:t>
            </a:r>
            <a:r>
              <a:rPr lang="en-US" dirty="0" smtClean="0"/>
              <a:t>Karlsruhe; </a:t>
            </a:r>
            <a:r>
              <a:rPr lang="en-US" dirty="0" smtClean="0"/>
              <a:t>Jacqueline Kaefer &amp; Luca Katzenberger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77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Codierung einer Nachrich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 bwMode="auto">
          <a:xfrm>
            <a:off x="2286001" y="2706129"/>
            <a:ext cx="1346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Send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5" name="Abgerundetes Rechteck 4"/>
          <p:cNvSpPr/>
          <p:nvPr/>
        </p:nvSpPr>
        <p:spPr bwMode="auto">
          <a:xfrm>
            <a:off x="3819323" y="2706129"/>
            <a:ext cx="1021493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5027252" y="2706129"/>
            <a:ext cx="1904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Empfäng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8285084" y="2706129"/>
            <a:ext cx="2122911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Zeitstempe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4356956" y="3768807"/>
            <a:ext cx="967720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err="1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Boo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677622" y="3768807"/>
            <a:ext cx="2578909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Nachrichtentext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7118574" y="2706129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5511112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3190446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C8053685-618F-4362-A78D-E12851F49413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53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Versend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937" y="4564573"/>
            <a:ext cx="757850" cy="75785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007" y="4600893"/>
            <a:ext cx="757850" cy="757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846" y="1819297"/>
            <a:ext cx="591934" cy="59193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119" y="2687932"/>
            <a:ext cx="591881" cy="59188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20" y="4600893"/>
            <a:ext cx="757850" cy="75785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264" y="2817906"/>
            <a:ext cx="618955" cy="6189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605" y="1247934"/>
            <a:ext cx="571363" cy="57136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694" y="1371268"/>
            <a:ext cx="568580" cy="56858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36798" y="2092417"/>
            <a:ext cx="1727585" cy="586342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Andere Computer im Netzwerk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984" y="2494513"/>
            <a:ext cx="562372" cy="562372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5538834" y="5303299"/>
            <a:ext cx="571363" cy="316378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Luca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0049123" y="5333309"/>
            <a:ext cx="1003617" cy="316378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Jacqueline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84237" y="5364310"/>
            <a:ext cx="587362" cy="274492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Peter</a:t>
            </a:r>
          </a:p>
        </p:txBody>
      </p:sp>
      <p:sp>
        <p:nvSpPr>
          <p:cNvPr id="17" name="Pfeil nach rechts 16"/>
          <p:cNvSpPr/>
          <p:nvPr/>
        </p:nvSpPr>
        <p:spPr bwMode="auto">
          <a:xfrm rot="16200000">
            <a:off x="5322107" y="3732984"/>
            <a:ext cx="939511" cy="479540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8" name="Pfeil nach rechts 17"/>
          <p:cNvSpPr/>
          <p:nvPr/>
        </p:nvSpPr>
        <p:spPr bwMode="auto">
          <a:xfrm>
            <a:off x="6487886" y="4676503"/>
            <a:ext cx="3439885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9" name="Pfeil nach rechts 18"/>
          <p:cNvSpPr/>
          <p:nvPr/>
        </p:nvSpPr>
        <p:spPr bwMode="auto">
          <a:xfrm rot="10800000">
            <a:off x="1793966" y="4676503"/>
            <a:ext cx="3347336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3" name="180-Grad-Pfeil 22"/>
          <p:cNvSpPr/>
          <p:nvPr/>
        </p:nvSpPr>
        <p:spPr bwMode="auto">
          <a:xfrm rot="10800000">
            <a:off x="5253867" y="5575118"/>
            <a:ext cx="976949" cy="673334"/>
          </a:xfrm>
          <a:prstGeom prst="uturnArrow">
            <a:avLst>
              <a:gd name="adj1" fmla="val 25000"/>
              <a:gd name="adj2" fmla="val 25000"/>
              <a:gd name="adj3" fmla="val 26630"/>
              <a:gd name="adj4" fmla="val 33967"/>
              <a:gd name="adj5" fmla="val 10000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867EABC0-2D02-4FC2-9095-49AC8B4B40EC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2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034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Empfang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143" y="560024"/>
            <a:ext cx="3864427" cy="6229456"/>
          </a:xfrm>
          <a:prstGeom prst="rect">
            <a:avLst/>
          </a:prstGeom>
        </p:spPr>
      </p:pic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959B0C1-A92E-4320-9E6C-12031824BEC2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9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Speicherung</a:t>
            </a:r>
            <a:endParaRPr lang="de-DE" dirty="0"/>
          </a:p>
        </p:txBody>
      </p:sp>
      <p:sp>
        <p:nvSpPr>
          <p:cNvPr id="8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DF3306E-DB80-41BB-B8E3-70C0FFC0F166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360" y="1500985"/>
            <a:ext cx="9423623" cy="50063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168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1400974" y="2458320"/>
            <a:ext cx="9831253" cy="579133"/>
          </a:xfrm>
        </p:spPr>
        <p:txBody>
          <a:bodyPr/>
          <a:lstStyle/>
          <a:p>
            <a:r>
              <a:rPr lang="de-DE" sz="6000" dirty="0" smtClean="0"/>
              <a:t>Chatprogramm</a:t>
            </a:r>
            <a:endParaRPr lang="de-DE" sz="6000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2183385" y="3204621"/>
            <a:ext cx="9831253" cy="276999"/>
          </a:xfrm>
        </p:spPr>
        <p:txBody>
          <a:bodyPr/>
          <a:lstStyle/>
          <a:p>
            <a:r>
              <a:rPr lang="de-DE" sz="1800" dirty="0" smtClean="0"/>
              <a:t>Informatikprojekt Softwareentwicklung</a:t>
            </a:r>
            <a:endParaRPr lang="de-DE" sz="1800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0A63CE6-6B0D-485E-90FA-29CD973CEBA6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677155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Quel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omputer: https://upload.wikimedia.org/wikipedia/commons/b/b2/Gnome-computer.svg</a:t>
            </a:r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901763B-89B2-4FC6-B398-F4E258D17DDE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312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Im Programm zei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arten -&gt; Username eingeben</a:t>
            </a:r>
          </a:p>
          <a:p>
            <a:r>
              <a:rPr lang="de-DE" dirty="0" smtClean="0"/>
              <a:t>Kontakt hinzufügen</a:t>
            </a:r>
          </a:p>
          <a:p>
            <a:r>
              <a:rPr lang="de-DE" dirty="0" err="1" smtClean="0"/>
              <a:t>FremderKontakt</a:t>
            </a:r>
            <a:r>
              <a:rPr lang="de-DE" dirty="0" smtClean="0"/>
              <a:t> Dialog</a:t>
            </a:r>
          </a:p>
          <a:p>
            <a:r>
              <a:rPr lang="de-DE" dirty="0" smtClean="0"/>
              <a:t>Nachrichten</a:t>
            </a:r>
          </a:p>
          <a:p>
            <a:r>
              <a:rPr lang="de-DE" dirty="0" smtClean="0"/>
              <a:t>Kontakt löschen</a:t>
            </a:r>
          </a:p>
          <a:p>
            <a:r>
              <a:rPr lang="de-DE" dirty="0" smtClean="0"/>
              <a:t>Programm zu und auf mach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8749197-7AEF-4D90-BEDC-2B1F9ABCEE1D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formatikprojekt Chatprogramm | DHBW Karlsruhe; Jacqueline Kaefer &amp; Luca Katzenberger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0274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05"/>
  <p:tag name="MIO_FALLBACK_LAYOUT" val="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0"/>
  <p:tag name="MIO_HDS" val="True"/>
  <p:tag name="MIO_SKIPVERSION" val="01.01.0001 00:00:00"/>
  <p:tag name="MIO_EKGUID" val="7591e066-4987-4298-8da3-3ff2c61db108"/>
  <p:tag name="MIO_UPDATE" val="True"/>
  <p:tag name="MIO_VERSION" val="09.08.2017 08:31:42"/>
  <p:tag name="MIO_DBID" val="2A33634A-98B7-4BCE-B2CC-E8EF535B38F2"/>
  <p:tag name="MIO_LASTDOWNLOADED" val="09.08.2017 09:17:24"/>
  <p:tag name="MIO_OBJECTNAME" val="SEW Master"/>
  <p:tag name="MIO_CDID" val="848d93fd-52f2-4d9a-ade9-0db5ab8bb5e6"/>
</p:tagLst>
</file>

<file path=ppt/theme/theme1.xml><?xml version="1.0" encoding="utf-8"?>
<a:theme xmlns:a="http://schemas.openxmlformats.org/drawingml/2006/main" name="16-9_SEW_master_2017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E0E9EE"/>
      </a:accent1>
      <a:accent2>
        <a:srgbClr val="B2C5D1"/>
      </a:accent2>
      <a:accent3>
        <a:srgbClr val="AA0012"/>
      </a:accent3>
      <a:accent4>
        <a:srgbClr val="000000"/>
      </a:accent4>
      <a:accent5>
        <a:srgbClr val="EFF3F5"/>
      </a:accent5>
      <a:accent6>
        <a:srgbClr val="95B4C5"/>
      </a:accent6>
      <a:hlink>
        <a:srgbClr val="70000D"/>
      </a:hlink>
      <a:folHlink>
        <a:srgbClr val="517D95"/>
      </a:folHlink>
    </a:clrScheme>
    <a:fontScheme name="Larissa-Design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rgbClr val="FFFFFF"/>
            </a:solidFill>
            <a:effectLst/>
            <a:latin typeface="Arial" panose="020B0604020202020204" pitchFamily="34" charset="0"/>
            <a:cs typeface="Arial Unicode MS" charset="0"/>
          </a:defRPr>
        </a:defPPr>
      </a:lstStyle>
    </a:spDef>
    <a:lnDef>
      <a:spPr bwMode="auto"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vert="horz" wrap="none" lIns="0" tIns="1800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3C6AF329-C1BD-4D6B-84A2-7654F8E98ABC}" vid="{5A68F71B-1D44-4481-B10C-B9297E2207E1}"/>
    </a:ext>
  </a:extLst>
</a:theme>
</file>

<file path=ppt/theme/theme2.xml><?xml version="1.0" encoding="utf-8"?>
<a:theme xmlns:a="http://schemas.openxmlformats.org/drawingml/2006/main" name="Larissa-Design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6</Words>
  <Application>Microsoft Office PowerPoint</Application>
  <PresentationFormat>Benutzerdefiniert</PresentationFormat>
  <Paragraphs>105</Paragraphs>
  <Slides>8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ＭＳ Ｐゴシック</vt:lpstr>
      <vt:lpstr>Arial</vt:lpstr>
      <vt:lpstr>Arial </vt:lpstr>
      <vt:lpstr>Arial Unicode MS</vt:lpstr>
      <vt:lpstr>Symbol</vt:lpstr>
      <vt:lpstr>Times New Roman</vt:lpstr>
      <vt:lpstr>Wingdings</vt:lpstr>
      <vt:lpstr>16-9_SEW_master_2017</vt:lpstr>
      <vt:lpstr>Chatprogramm</vt:lpstr>
      <vt:lpstr>Codierung einer Nachricht</vt:lpstr>
      <vt:lpstr>Versenden einer Nachricht</vt:lpstr>
      <vt:lpstr>Empfangen einer Nachricht</vt:lpstr>
      <vt:lpstr>Speicherung</vt:lpstr>
      <vt:lpstr>Chatprogramm</vt:lpstr>
      <vt:lpstr>Quellen</vt:lpstr>
      <vt:lpstr>Im Programm zeigen</vt:lpstr>
    </vt:vector>
  </TitlesOfParts>
  <Company>SEW-EURODRIVE GmbH &amp; Co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KATLUC</dc:creator>
  <cp:lastModifiedBy>DEKATLUC</cp:lastModifiedBy>
  <cp:revision>16</cp:revision>
  <dcterms:created xsi:type="dcterms:W3CDTF">2019-02-21T12:12:12Z</dcterms:created>
  <dcterms:modified xsi:type="dcterms:W3CDTF">2019-02-25T20:03:18Z</dcterms:modified>
</cp:coreProperties>
</file>